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551" r:id="rId5"/>
    <p:sldId id="553" r:id="rId6"/>
    <p:sldId id="554" r:id="rId7"/>
    <p:sldId id="565" r:id="rId8"/>
    <p:sldId id="601" r:id="rId9"/>
    <p:sldId id="606" r:id="rId10"/>
    <p:sldId id="607" r:id="rId11"/>
    <p:sldId id="608" r:id="rId12"/>
    <p:sldId id="609" r:id="rId13"/>
    <p:sldId id="568" r:id="rId14"/>
    <p:sldId id="611" r:id="rId15"/>
    <p:sldId id="612" r:id="rId16"/>
    <p:sldId id="605" r:id="rId17"/>
    <p:sldId id="604" r:id="rId18"/>
    <p:sldId id="603" r:id="rId19"/>
    <p:sldId id="573" r:id="rId20"/>
    <p:sldId id="574" r:id="rId21"/>
  </p:sldIdLst>
  <p:sldSz cx="9756775" cy="7315200"/>
  <p:notesSz cx="7010400" cy="9296400"/>
  <p:custDataLst>
    <p:tags r:id="rId24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73">
          <p15:clr>
            <a:srgbClr val="A4A3A4"/>
          </p15:clr>
        </p15:guide>
        <p15:guide id="4" orient="horz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ther Tan" initials="ET" lastIdx="2" clrIdx="0">
    <p:extLst>
      <p:ext uri="{19B8F6BF-5375-455C-9EA6-DF929625EA0E}">
        <p15:presenceInfo xmlns:p15="http://schemas.microsoft.com/office/powerpoint/2012/main" userId="S::tan2@un.org::a32faec1-ecd3-4185-9414-aeb51abd28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25" autoAdjust="0"/>
    <p:restoredTop sz="94433"/>
  </p:normalViewPr>
  <p:slideViewPr>
    <p:cSldViewPr showGuides="1">
      <p:cViewPr varScale="1">
        <p:scale>
          <a:sx n="72" d="100"/>
          <a:sy n="72" d="100"/>
        </p:scale>
        <p:origin x="1816" y="200"/>
      </p:cViewPr>
      <p:guideLst>
        <p:guide pos="3073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4982"/>
    </p:cViewPr>
  </p:sorterViewPr>
  <p:notesViewPr>
    <p:cSldViewPr showGuides="1"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5/26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5/26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8152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4345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place Imag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020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3883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0557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Replace Imag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06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5027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1803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36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14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93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526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2624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1180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place Imag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2225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place Imag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566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place Im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55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46C5.F32FB7B0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pic>
        <p:nvPicPr>
          <p:cNvPr id="21" name="Picture 59" descr="cid:image001.png@01D49ED8.84C1B980">
            <a:extLst>
              <a:ext uri="{FF2B5EF4-FFF2-40B4-BE49-F238E27FC236}">
                <a16:creationId xmlns:a16="http://schemas.microsoft.com/office/drawing/2014/main" id="{E8178294-277C-48C3-A367-92BAAC0465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6238389"/>
            <a:ext cx="2349280" cy="71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DE3-85CE-E84F-B7B5-BBFC525D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8098E-FEBB-CF48-BB9B-5040AE8D3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E10C3-D171-584B-A712-287DC55F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05C62-D31E-6245-9E55-FE094DC5D366}" type="datetimeFigureOut">
              <a:rPr lang="en-US" smtClean="0"/>
              <a:t>5/2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20281-EF91-244C-8052-D427E095B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20C6E-A2F5-3844-8731-A4E2AD25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BAB4E-82FA-1B46-B6D0-291BB2A24D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68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19" Type="http://schemas.openxmlformats.org/officeDocument/2006/relationships/image" Target="cid:image001.png@01D546C5.F32FB7B0" TargetMode="Externa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83" name="Picture 59" descr="cid:image001.png@01D49ED8.84C1B980">
            <a:extLst>
              <a:ext uri="{FF2B5EF4-FFF2-40B4-BE49-F238E27FC236}">
                <a16:creationId xmlns:a16="http://schemas.microsoft.com/office/drawing/2014/main" id="{BE7A5F0E-0331-4B50-9944-AC2F23CFC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r:link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192797"/>
            <a:ext cx="138112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3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microsoft.com/office/2007/relationships/hdphoto" Target="../media/hdphoto3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B2E8C-098A-7642-B32B-34C0F206E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507" y="838200"/>
            <a:ext cx="8415218" cy="7240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/>
              <a:t>FIELD MEDICAL ASSISTANT COURSE (FMAC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562903A-B496-AA47-BAFE-648585A21D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905" y="2590800"/>
            <a:ext cx="9256963" cy="935037"/>
          </a:xfrm>
        </p:spPr>
        <p:txBody>
          <a:bodyPr/>
          <a:lstStyle/>
          <a:p>
            <a:pPr marL="0" indent="0" algn="ctr">
              <a:buNone/>
            </a:pPr>
            <a:r>
              <a:rPr lang="en-GB" sz="3200" dirty="0"/>
              <a:t>MODULE 04: </a:t>
            </a:r>
          </a:p>
          <a:p>
            <a:pPr marL="0" indent="0" algn="ctr">
              <a:buNone/>
            </a:pPr>
            <a:r>
              <a:rPr lang="en-GB" sz="4000" b="1" dirty="0"/>
              <a:t>PRINCIPLES AND APPLICATION OF </a:t>
            </a:r>
          </a:p>
          <a:p>
            <a:pPr marL="0" indent="0" algn="ctr">
              <a:buNone/>
            </a:pPr>
            <a:r>
              <a:rPr lang="en-GB" sz="4000" b="1" dirty="0"/>
              <a:t>TACTICAL FIELD CARE (TFC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39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1800" b="0" dirty="0"/>
              <a:t>TACTICAL FIELD CARE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6800DC0C-5D70-924B-B3E2-455BB411CE1F}"/>
              </a:ext>
            </a:extLst>
          </p:cNvPr>
          <p:cNvSpPr txBox="1">
            <a:spLocks/>
          </p:cNvSpPr>
          <p:nvPr/>
        </p:nvSpPr>
        <p:spPr>
          <a:xfrm>
            <a:off x="611187" y="2681099"/>
            <a:ext cx="3251578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i="1" dirty="0"/>
              <a:t>DURING</a:t>
            </a:r>
            <a:r>
              <a:rPr lang="en-GB" sz="1800" b="1" dirty="0"/>
              <a:t> LIFE-THREATENING</a:t>
            </a:r>
            <a:endParaRPr lang="en-GB" b="1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M</a:t>
            </a:r>
            <a:r>
              <a:rPr lang="en-GB" b="1" dirty="0"/>
              <a:t>ASSIVE BLEEDING    </a:t>
            </a:r>
            <a:r>
              <a:rPr lang="en-GB" b="1" dirty="0">
                <a:solidFill>
                  <a:srgbClr val="FF0000"/>
                </a:solidFill>
              </a:rPr>
              <a:t>#1 Priorit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A</a:t>
            </a:r>
            <a:r>
              <a:rPr lang="en-GB" b="1" dirty="0"/>
              <a:t>IRWA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R</a:t>
            </a:r>
            <a:r>
              <a:rPr lang="en-GB" b="1" dirty="0"/>
              <a:t>ESPIRATIO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C</a:t>
            </a:r>
            <a:r>
              <a:rPr lang="en-GB" b="1" dirty="0"/>
              <a:t>IRCULATIO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H</a:t>
            </a:r>
            <a:r>
              <a:rPr lang="en-GB" b="1" dirty="0"/>
              <a:t>YPOTHERMIA / </a:t>
            </a:r>
            <a:r>
              <a:rPr lang="en-GB" b="1" dirty="0">
                <a:solidFill>
                  <a:srgbClr val="000000"/>
                </a:solidFill>
              </a:rPr>
              <a:t>H</a:t>
            </a:r>
            <a:r>
              <a:rPr lang="en-GB" b="1" dirty="0"/>
              <a:t>EAD INJURIES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MARCH</a:t>
            </a: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 PAW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5ACD7C78-18E5-FF46-9E79-C471699C3F32}"/>
              </a:ext>
            </a:extLst>
          </p:cNvPr>
          <p:cNvSpPr txBox="1">
            <a:spLocks/>
          </p:cNvSpPr>
          <p:nvPr/>
        </p:nvSpPr>
        <p:spPr>
          <a:xfrm>
            <a:off x="4954587" y="2681099"/>
            <a:ext cx="3861178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i="1" dirty="0"/>
              <a:t>AFTER</a:t>
            </a:r>
            <a:r>
              <a:rPr lang="en-GB" sz="1800" b="1" dirty="0"/>
              <a:t> LIFE-THREATENING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P</a:t>
            </a:r>
            <a:r>
              <a:rPr lang="en-GB" b="1" dirty="0"/>
              <a:t>AI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A</a:t>
            </a:r>
            <a:r>
              <a:rPr lang="en-GB" b="1" dirty="0"/>
              <a:t>NTIBIOTICS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W</a:t>
            </a:r>
            <a:r>
              <a:rPr lang="en-GB" b="1" dirty="0"/>
              <a:t>OUNDS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S</a:t>
            </a:r>
            <a:r>
              <a:rPr lang="en-GB" b="1" dirty="0"/>
              <a:t>PLINTING</a:t>
            </a:r>
          </a:p>
        </p:txBody>
      </p:sp>
    </p:spTree>
    <p:extLst>
      <p:ext uri="{BB962C8B-B14F-4D97-AF65-F5344CB8AC3E}">
        <p14:creationId xmlns:p14="http://schemas.microsoft.com/office/powerpoint/2010/main" val="2484545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</a:rPr>
              <a:t>COMMUNICATION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9BB6D1-275A-D447-8943-C29B6F0DA5BC}"/>
              </a:ext>
            </a:extLst>
          </p:cNvPr>
          <p:cNvSpPr txBox="1"/>
          <p:nvPr/>
        </p:nvSpPr>
        <p:spPr>
          <a:xfrm>
            <a:off x="544675" y="3886200"/>
            <a:ext cx="280971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with the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sualty, if possibl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ncourag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Reassur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xplain care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ach step of the way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55E664-2433-3F46-8227-5204DFFB4F70}"/>
              </a:ext>
            </a:extLst>
          </p:cNvPr>
          <p:cNvSpPr txBox="1"/>
          <p:nvPr/>
        </p:nvSpPr>
        <p:spPr>
          <a:xfrm>
            <a:off x="3502578" y="3886200"/>
            <a:ext cx="305733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with tactical leadership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IMMEDIATELY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on evacuation requirements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ntinu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to communicate with leadership on casualty treatment as needed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F1AFFF-1273-0142-A7B1-564EBFF0CBB0}"/>
              </a:ext>
            </a:extLst>
          </p:cNvPr>
          <p:cNvSpPr txBox="1"/>
          <p:nvPr/>
        </p:nvSpPr>
        <p:spPr>
          <a:xfrm>
            <a:off x="6559910" y="3860759"/>
            <a:ext cx="2952263" cy="281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E WITH EVACUATION AND MEDICAL ASSETS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with the evacuation system to coordinate evacuation using the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4-Lin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SEVAC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request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Keep each casualty’s Cas Card up to date</a:t>
            </a:r>
          </a:p>
          <a:p>
            <a:endParaRPr lang="en-GB" sz="1800" b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25C9E41A-3C70-B048-AE03-445B3F6F1F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675" y="1714114"/>
            <a:ext cx="2363966" cy="2113242"/>
          </a:xfrm>
          <a:prstGeom prst="rect">
            <a:avLst/>
          </a:prstGeom>
        </p:spPr>
      </p:pic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0DFBB2FA-0D63-9F41-B2CB-BE8E316A74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585" y="1856908"/>
            <a:ext cx="2517816" cy="194479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41CCA4E-E032-B04D-A443-94320EAAD3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4345" y="1882560"/>
            <a:ext cx="2562910" cy="1944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0381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</a:rPr>
              <a:t>COMMUNICATE RELEVANT CASUALTY DATA</a:t>
            </a:r>
          </a:p>
          <a:p>
            <a:pPr marL="0" indent="0" algn="ctr">
              <a:buNone/>
            </a:pPr>
            <a:endParaRPr lang="en-GB" sz="2400" b="1" dirty="0">
              <a:solidFill>
                <a:srgbClr val="3CBBED"/>
              </a:solidFill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9BB6D1-275A-D447-8943-C29B6F0DA5BC}"/>
              </a:ext>
            </a:extLst>
          </p:cNvPr>
          <p:cNvSpPr txBox="1"/>
          <p:nvPr/>
        </p:nvSpPr>
        <p:spPr>
          <a:xfrm>
            <a:off x="544675" y="3886200"/>
            <a:ext cx="2965877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Document ALL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ssessment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nd medical care (including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interventions and medications)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on the Casualty Card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55E664-2433-3F46-8227-5204DFFB4F70}"/>
              </a:ext>
            </a:extLst>
          </p:cNvPr>
          <p:cNvSpPr txBox="1"/>
          <p:nvPr/>
        </p:nvSpPr>
        <p:spPr>
          <a:xfrm>
            <a:off x="3510552" y="3529548"/>
            <a:ext cx="3057332" cy="370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with CASEVAC using the: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4-Lin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CASEVAC request form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IST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Report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FF0000"/>
                </a:solidFill>
                <a:latin typeface="Arial" panose="020B0604020202020204" pitchFamily="34" charset="0"/>
              </a:rPr>
              <a:t>M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chanism of injury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FF0000"/>
                </a:solidFill>
                <a:latin typeface="Arial" panose="020B0604020202020204" pitchFamily="34" charset="0"/>
              </a:rPr>
              <a:t>I</a:t>
            </a: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</a:rPr>
              <a:t>njuries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FF0000"/>
                </a:solidFill>
                <a:latin typeface="Arial" panose="020B0604020202020204" pitchFamily="34" charset="0"/>
              </a:rPr>
              <a:t>S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ymptoms</a:t>
            </a:r>
          </a:p>
          <a:p>
            <a:pPr lvl="1">
              <a:spcAft>
                <a:spcPts val="600"/>
              </a:spcAft>
            </a:pPr>
            <a:r>
              <a:rPr lang="en-GB" sz="1600" dirty="0">
                <a:solidFill>
                  <a:srgbClr val="FF0000"/>
                </a:solidFill>
                <a:latin typeface="Arial" panose="020B0604020202020204" pitchFamily="34" charset="0"/>
              </a:rPr>
              <a:t>T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reatment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Relay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the information following your standard operating procedures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F1AFFF-1273-0142-A7B1-564EBFF0CBB0}"/>
              </a:ext>
            </a:extLst>
          </p:cNvPr>
          <p:cNvSpPr txBox="1"/>
          <p:nvPr/>
        </p:nvSpPr>
        <p:spPr>
          <a:xfrm>
            <a:off x="6559910" y="2462733"/>
            <a:ext cx="2952263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E CASUALTY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DATA IN HAND-OFF WITH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EDIC OR CASEVAC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When handing casualty off to medic or CASEVAC, read off the Casualty Card, including any additional information as needed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IST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report may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hang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as the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sualty status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nd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interventions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performed change</a:t>
            </a:r>
          </a:p>
          <a:p>
            <a:endParaRPr lang="en-GB" sz="1800" b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1D3EA8C2-17FF-4647-B5FA-3CF1F71869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148" y="1856908"/>
            <a:ext cx="2514600" cy="19685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183E1D2-3E1A-0B4C-9F23-C648C26BC4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367" y="1856907"/>
            <a:ext cx="1927220" cy="1401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1327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TRIAGE ‒ PRIORITIZING MULTIPLE CASUALTIES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839787" y="2203915"/>
            <a:ext cx="7848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r>
              <a:rPr lang="en-GB" b="1" dirty="0">
                <a:solidFill>
                  <a:srgbClr val="000000"/>
                </a:solidFill>
              </a:rPr>
              <a:t>Casualties with these injuries must be treated first: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9BB6D1-275A-D447-8943-C29B6F0DA5BC}"/>
              </a:ext>
            </a:extLst>
          </p:cNvPr>
          <p:cNvSpPr txBox="1"/>
          <p:nvPr/>
        </p:nvSpPr>
        <p:spPr>
          <a:xfrm>
            <a:off x="2820987" y="3158022"/>
            <a:ext cx="4801314" cy="1846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000000"/>
                </a:solidFill>
              </a:rPr>
              <a:t>#1 </a:t>
            </a:r>
            <a:r>
              <a:rPr lang="en-GB" dirty="0">
                <a:solidFill>
                  <a:srgbClr val="FF0000"/>
                </a:solidFill>
              </a:rPr>
              <a:t>Massive bleeding</a:t>
            </a:r>
          </a:p>
          <a:p>
            <a:r>
              <a:rPr lang="en-GB" dirty="0">
                <a:solidFill>
                  <a:srgbClr val="000000"/>
                </a:solidFill>
              </a:rPr>
              <a:t>#2 </a:t>
            </a:r>
            <a:r>
              <a:rPr lang="en-GB" b="1" dirty="0">
                <a:solidFill>
                  <a:srgbClr val="000000"/>
                </a:solidFill>
              </a:rPr>
              <a:t>Penetrating</a:t>
            </a:r>
            <a:r>
              <a:rPr lang="en-GB" dirty="0">
                <a:solidFill>
                  <a:srgbClr val="000000"/>
                </a:solidFill>
              </a:rPr>
              <a:t> trauma into the box (torso)</a:t>
            </a:r>
          </a:p>
          <a:p>
            <a:r>
              <a:rPr lang="en-GB" dirty="0">
                <a:solidFill>
                  <a:srgbClr val="000000"/>
                </a:solidFill>
              </a:rPr>
              <a:t>#3 </a:t>
            </a:r>
            <a:r>
              <a:rPr lang="en-GB" b="1" dirty="0">
                <a:solidFill>
                  <a:srgbClr val="000000"/>
                </a:solidFill>
              </a:rPr>
              <a:t>Airway</a:t>
            </a:r>
            <a:r>
              <a:rPr lang="en-GB" dirty="0">
                <a:solidFill>
                  <a:srgbClr val="000000"/>
                </a:solidFill>
              </a:rPr>
              <a:t> compromise</a:t>
            </a:r>
          </a:p>
          <a:p>
            <a:r>
              <a:rPr lang="en-GB" dirty="0">
                <a:solidFill>
                  <a:srgbClr val="000000"/>
                </a:solidFill>
              </a:rPr>
              <a:t>#4 </a:t>
            </a:r>
            <a:r>
              <a:rPr lang="en-GB" b="1" dirty="0">
                <a:solidFill>
                  <a:srgbClr val="000000"/>
                </a:solidFill>
              </a:rPr>
              <a:t>Respiratory</a:t>
            </a:r>
            <a:r>
              <a:rPr lang="en-GB" dirty="0">
                <a:solidFill>
                  <a:srgbClr val="000000"/>
                </a:solidFill>
              </a:rPr>
              <a:t> distress</a:t>
            </a:r>
          </a:p>
          <a:p>
            <a:r>
              <a:rPr lang="en-GB" dirty="0">
                <a:solidFill>
                  <a:srgbClr val="000000"/>
                </a:solidFill>
              </a:rPr>
              <a:t>#5 Altered mental status</a:t>
            </a:r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A7E9E9-EE9A-6243-B4DD-65E310908A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705" b="92282" l="6075" r="93224">
                        <a14:foregroundMark x1="10514" y1="89933" x2="10514" y2="68121"/>
                        <a14:foregroundMark x1="10514" y1="68121" x2="16589" y2="26174"/>
                        <a14:foregroundMark x1="16589" y1="26174" x2="15187" y2="21141"/>
                        <a14:foregroundMark x1="14252" y1="6711" x2="12850" y2="6040"/>
                        <a14:foregroundMark x1="6542" y1="49664" x2="8411" y2="40940"/>
                        <a14:foregroundMark x1="61215" y1="86242" x2="29907" y2="88591"/>
                        <a14:foregroundMark x1="93224" y1="80872" x2="80374" y2="89597"/>
                        <a14:foregroundMark x1="80374" y1="89597" x2="67523" y2="92282"/>
                        <a14:foregroundMark x1="92290" y1="88255" x2="93224" y2="8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87" y="4606736"/>
            <a:ext cx="3452242" cy="240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6950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TRIAGE CONSIDERATIONS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839787" y="2203915"/>
            <a:ext cx="7848600" cy="19851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Casualties may need to be sorted into prioritized treatment groups 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The FMA may be required to assist medical personnel with urgent casualties, monitor casualties after emergency interventions, and may be tasked with preparing casualties for evacuation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20C81E-A098-4A49-985C-9F86F5FD9B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705" b="92282" l="6075" r="93224">
                        <a14:foregroundMark x1="10514" y1="89933" x2="10514" y2="68121"/>
                        <a14:foregroundMark x1="10514" y1="68121" x2="16589" y2="26174"/>
                        <a14:foregroundMark x1="16589" y1="26174" x2="15187" y2="21141"/>
                        <a14:foregroundMark x1="14252" y1="6711" x2="12850" y2="6040"/>
                        <a14:foregroundMark x1="6542" y1="49664" x2="8411" y2="40940"/>
                        <a14:foregroundMark x1="61215" y1="86242" x2="29907" y2="88591"/>
                        <a14:foregroundMark x1="93224" y1="80872" x2="80374" y2="89597"/>
                        <a14:foregroundMark x1="80374" y1="89597" x2="67523" y2="92282"/>
                        <a14:foregroundMark x1="92290" y1="88255" x2="93224" y2="8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87" y="4606736"/>
            <a:ext cx="3452242" cy="240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7426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UMMARY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839787" y="2203915"/>
            <a:ext cx="7848600" cy="36779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Ensure you are aware of all security and safety procedures for TFC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Tactical Field Care is when the casualty and the responder are both no longer under effective enemy fire or threat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Security and safety in TFC is a priority; clear and secure weapons and communications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Understand the principles of casualty extractions in accordance with unit standard operating procedures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Always follow the MARCH PAWS procedure during life-threatening and after life-threatening injuries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</p:spTree>
    <p:extLst>
      <p:ext uri="{BB962C8B-B14F-4D97-AF65-F5344CB8AC3E}">
        <p14:creationId xmlns:p14="http://schemas.microsoft.com/office/powerpoint/2010/main" val="431041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CHECK ON LEARNING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BB77F5-7653-EF43-B25B-43D810F55D2B}"/>
              </a:ext>
            </a:extLst>
          </p:cNvPr>
          <p:cNvSpPr txBox="1"/>
          <p:nvPr/>
        </p:nvSpPr>
        <p:spPr>
          <a:xfrm>
            <a:off x="1220787" y="2590800"/>
            <a:ext cx="754380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is the difference between the TFC and CUF phases?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True or False: During TFC, the tactical situation could change back to CUF again at any time.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is MARCH PAWS?</a:t>
            </a:r>
          </a:p>
        </p:txBody>
      </p:sp>
    </p:spTree>
    <p:extLst>
      <p:ext uri="{BB962C8B-B14F-4D97-AF65-F5344CB8AC3E}">
        <p14:creationId xmlns:p14="http://schemas.microsoft.com/office/powerpoint/2010/main" val="3912039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ANY QUESTION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7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ACTICAL FIELD MEDICAL AID (TFMA)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325437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>
                <a:solidFill>
                  <a:schemeClr val="tx1"/>
                </a:solidFill>
                <a:ea typeface="+mj-ea"/>
                <a:cs typeface="+mj-cs"/>
              </a:rPr>
              <a:t>ROLE-BASED TRAINING SPECTRUM</a:t>
            </a:r>
          </a:p>
          <a:p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3C851DC-AA8D-B845-8E4B-E9FEBDC1FD9C}"/>
              </a:ext>
            </a:extLst>
          </p:cNvPr>
          <p:cNvSpPr txBox="1">
            <a:spLocks/>
          </p:cNvSpPr>
          <p:nvPr/>
        </p:nvSpPr>
        <p:spPr>
          <a:xfrm>
            <a:off x="255209" y="2147699"/>
            <a:ext cx="9256963" cy="4634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/>
              <a:t>ROLE 1 CARE</a:t>
            </a:r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r>
              <a:rPr lang="en-GB" sz="2000" dirty="0"/>
              <a:t>NONMEDICAL PERSONNEL</a:t>
            </a:r>
          </a:p>
          <a:p>
            <a:r>
              <a:rPr lang="en-GB" sz="2000" dirty="0"/>
              <a:t>Buddy First Aid </a:t>
            </a:r>
          </a:p>
          <a:p>
            <a:r>
              <a:rPr lang="en-GB" sz="2000" dirty="0"/>
              <a:t>Field Medical Assistant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MEDICAL PERSONNEL</a:t>
            </a:r>
          </a:p>
          <a:p>
            <a:r>
              <a:rPr lang="en-GB" sz="2000" dirty="0"/>
              <a:t>Paramedic </a:t>
            </a:r>
          </a:p>
          <a:p>
            <a:r>
              <a:rPr lang="en-GB" sz="2000" dirty="0"/>
              <a:t>Nurse </a:t>
            </a:r>
          </a:p>
          <a:p>
            <a:r>
              <a:rPr lang="en-GB" sz="2000" dirty="0"/>
              <a:t>Doctor 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2" name="Left Arrow 1">
            <a:extLst>
              <a:ext uri="{FF2B5EF4-FFF2-40B4-BE49-F238E27FC236}">
                <a16:creationId xmlns:a16="http://schemas.microsoft.com/office/drawing/2014/main" id="{DE5ADC4D-C337-6341-882B-1D6DDE85FC88}"/>
              </a:ext>
            </a:extLst>
          </p:cNvPr>
          <p:cNvSpPr/>
          <p:nvPr/>
        </p:nvSpPr>
        <p:spPr>
          <a:xfrm>
            <a:off x="3552286" y="3505200"/>
            <a:ext cx="1295400" cy="685800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FCB2C2-B33E-A44C-9A86-D6631066AE03}"/>
              </a:ext>
            </a:extLst>
          </p:cNvPr>
          <p:cNvSpPr txBox="1"/>
          <p:nvPr/>
        </p:nvSpPr>
        <p:spPr>
          <a:xfrm>
            <a:off x="4922301" y="3657600"/>
            <a:ext cx="1762085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1330940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8" y="1249546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TERMINAL LEARNING OBJECTIVE</a:t>
            </a:r>
          </a:p>
          <a:p>
            <a:endParaRPr lang="en-US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86880719-1EA6-E145-9F81-7A823DE6D721}"/>
              </a:ext>
            </a:extLst>
          </p:cNvPr>
          <p:cNvSpPr txBox="1">
            <a:spLocks/>
          </p:cNvSpPr>
          <p:nvPr/>
        </p:nvSpPr>
        <p:spPr>
          <a:xfrm>
            <a:off x="255208" y="2452499"/>
            <a:ext cx="9256963" cy="4176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b="1" dirty="0">
                <a:solidFill>
                  <a:srgbClr val="FF0000"/>
                </a:solidFill>
              </a:rPr>
              <a:t>TO5</a:t>
            </a:r>
            <a:r>
              <a:rPr lang="en-GB" sz="1400" dirty="0"/>
              <a:t> </a:t>
            </a:r>
            <a:r>
              <a:rPr lang="en-GB" b="1" dirty="0"/>
              <a:t>Given a combat peacekeeping or non-combat peacekeeping scenario, perform Tactical Field Care in accordance with TFMA Guidelines</a:t>
            </a:r>
            <a:endParaRPr lang="en-GB" sz="1400" b="1" dirty="0"/>
          </a:p>
          <a:p>
            <a:pPr marL="0" indent="0">
              <a:spcAft>
                <a:spcPts val="600"/>
              </a:spcAft>
              <a:buNone/>
            </a:pPr>
            <a:endParaRPr lang="en-GB" sz="1400" dirty="0"/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23</a:t>
            </a:r>
            <a:r>
              <a:rPr lang="en-GB" sz="1400" b="1" dirty="0">
                <a:solidFill>
                  <a:srgbClr val="FF0000"/>
                </a:solidFill>
              </a:rPr>
              <a:t> </a:t>
            </a:r>
            <a:r>
              <a:rPr lang="en-GB" sz="1400" dirty="0"/>
              <a:t>Identify the importance of security and safety in Tactical Field Care (TFC)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24 </a:t>
            </a:r>
            <a:r>
              <a:rPr lang="en-GB" sz="1400" dirty="0"/>
              <a:t>Identify basic principles of removal/extraction of casualties from a unit-specific platform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25</a:t>
            </a:r>
            <a:r>
              <a:rPr lang="en-GB" sz="1400" dirty="0"/>
              <a:t> Identify the importance and techniques of communicating casualty information with unit tactical leadership and/or medical personnel 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26 </a:t>
            </a:r>
            <a:r>
              <a:rPr lang="en-GB" sz="1400" dirty="0"/>
              <a:t>Identify the relevant tactical and casualty data involved in communicating casualty information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27 </a:t>
            </a:r>
            <a:r>
              <a:rPr lang="en-GB" sz="1400" dirty="0"/>
              <a:t>Identify Demonstrate communication of casualty information to tactical leadership and/or medical personnel (in accordance with UN and/or unit standard operating procedures in TFC)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28 </a:t>
            </a:r>
            <a:r>
              <a:rPr lang="en-GB" sz="1400" dirty="0"/>
              <a:t>Identify triage considerations in TFC</a:t>
            </a:r>
          </a:p>
          <a:p>
            <a:pPr marL="679450" lvl="2" indent="0">
              <a:buNone/>
            </a:pPr>
            <a:endParaRPr lang="en-GB" sz="1400" dirty="0"/>
          </a:p>
          <a:p>
            <a:pPr marL="679450" lvl="2" indent="0">
              <a:buNone/>
            </a:pPr>
            <a:endParaRPr lang="en-GB" sz="1400" dirty="0"/>
          </a:p>
          <a:p>
            <a:pPr marL="679450" lvl="2" indent="0">
              <a:buNone/>
            </a:pPr>
            <a:endParaRPr lang="en-GB" sz="1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442BF1-BC35-B749-86B8-EB5FE3553E83}"/>
              </a:ext>
            </a:extLst>
          </p:cNvPr>
          <p:cNvSpPr txBox="1"/>
          <p:nvPr/>
        </p:nvSpPr>
        <p:spPr>
          <a:xfrm>
            <a:off x="2876248" y="778522"/>
            <a:ext cx="401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STUDENT 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234916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6800DC0C-5D70-924B-B3E2-455BB411CE1F}"/>
              </a:ext>
            </a:extLst>
          </p:cNvPr>
          <p:cNvSpPr txBox="1">
            <a:spLocks/>
          </p:cNvSpPr>
          <p:nvPr/>
        </p:nvSpPr>
        <p:spPr>
          <a:xfrm>
            <a:off x="611187" y="2681099"/>
            <a:ext cx="2514600" cy="3033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1</a:t>
            </a:r>
            <a:r>
              <a:rPr lang="en-GB" sz="1800" b="1" dirty="0"/>
              <a:t> </a:t>
            </a:r>
            <a:r>
              <a:rPr lang="en-GB" b="1" dirty="0"/>
              <a:t>CARE UNDER FIRE</a:t>
            </a:r>
          </a:p>
          <a:p>
            <a:pPr marL="0" indent="0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dirty="0"/>
              <a:t>RETURN FIRE </a:t>
            </a:r>
          </a:p>
          <a:p>
            <a:pPr marL="0" indent="0" algn="ctr">
              <a:buNone/>
            </a:pPr>
            <a:r>
              <a:rPr lang="en-GB" dirty="0"/>
              <a:t>AND TAKE COVER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1400" dirty="0"/>
              <a:t>Quick decision-making:</a:t>
            </a:r>
          </a:p>
          <a:p>
            <a:r>
              <a:rPr lang="en-GB" sz="1400" dirty="0"/>
              <a:t>Consider scene safety</a:t>
            </a:r>
          </a:p>
          <a:p>
            <a:r>
              <a:rPr lang="en-GB" sz="1400" dirty="0"/>
              <a:t>Identify and control life-threatening bleeding</a:t>
            </a:r>
          </a:p>
          <a:p>
            <a:r>
              <a:rPr lang="en-GB" sz="1400" dirty="0"/>
              <a:t>Move casualty to safet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Three PHASES of TFMA</a:t>
            </a:r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40E31D-D568-3843-BFE7-EC8A4B1B9E4E}"/>
              </a:ext>
            </a:extLst>
          </p:cNvPr>
          <p:cNvSpPr txBox="1">
            <a:spLocks/>
          </p:cNvSpPr>
          <p:nvPr/>
        </p:nvSpPr>
        <p:spPr>
          <a:xfrm>
            <a:off x="3125787" y="2711579"/>
            <a:ext cx="2667000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2</a:t>
            </a:r>
            <a:r>
              <a:rPr lang="en-GB" sz="1800" b="1" dirty="0"/>
              <a:t> </a:t>
            </a:r>
            <a:r>
              <a:rPr lang="en-GB" b="1" dirty="0"/>
              <a:t>TACTICAL FIELD CARE</a:t>
            </a:r>
          </a:p>
          <a:p>
            <a:pPr marL="0" indent="0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dirty="0"/>
              <a:t>COVER AND </a:t>
            </a:r>
          </a:p>
          <a:p>
            <a:pPr marL="0" indent="0" algn="ctr">
              <a:buNone/>
            </a:pPr>
            <a:r>
              <a:rPr lang="en-GB" dirty="0"/>
              <a:t>CONCEALMEN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1400" dirty="0"/>
              <a:t>Basic Management Plan:</a:t>
            </a:r>
          </a:p>
          <a:p>
            <a:r>
              <a:rPr lang="en-GB" sz="1400" dirty="0"/>
              <a:t>Maintain tactical situational awareness</a:t>
            </a:r>
          </a:p>
          <a:p>
            <a:r>
              <a:rPr lang="en-GB" sz="1400" dirty="0"/>
              <a:t>Triage casualties as required</a:t>
            </a:r>
          </a:p>
          <a:p>
            <a:r>
              <a:rPr lang="en-GB" sz="1400" dirty="0"/>
              <a:t>MARCH PAWS assessmen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7DAF999E-465F-5B4D-837E-F51BDB6C4879}"/>
              </a:ext>
            </a:extLst>
          </p:cNvPr>
          <p:cNvSpPr txBox="1">
            <a:spLocks/>
          </p:cNvSpPr>
          <p:nvPr/>
        </p:nvSpPr>
        <p:spPr>
          <a:xfrm>
            <a:off x="6097587" y="2711579"/>
            <a:ext cx="3276600" cy="3765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3</a:t>
            </a:r>
            <a:r>
              <a:rPr lang="en-GB" sz="1800" b="1" dirty="0"/>
              <a:t> </a:t>
            </a:r>
            <a:r>
              <a:rPr lang="en-GB" b="1" dirty="0"/>
              <a:t>TACTICAL EVACUATION CARE</a:t>
            </a:r>
          </a:p>
          <a:p>
            <a:pPr marL="222250" lvl="1" indent="0">
              <a:buNone/>
            </a:pPr>
            <a:endParaRPr lang="en-GB" b="1" dirty="0"/>
          </a:p>
          <a:p>
            <a:pPr marL="222250" lvl="1" indent="0">
              <a:buNone/>
            </a:pPr>
            <a:endParaRPr lang="en-GB" b="1" dirty="0"/>
          </a:p>
          <a:p>
            <a:pPr marL="222250" lvl="1" indent="0">
              <a:buNone/>
            </a:pPr>
            <a:endParaRPr lang="en-GB" b="1" dirty="0"/>
          </a:p>
          <a:p>
            <a:pPr marL="222250" lvl="1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1400" dirty="0"/>
              <a:t>More deliberate assessment and treatment of unrecognized life-threatening injuries:</a:t>
            </a:r>
          </a:p>
          <a:p>
            <a:r>
              <a:rPr lang="en-GB" sz="1400" dirty="0"/>
              <a:t>Pre-evacuation procedures</a:t>
            </a:r>
          </a:p>
          <a:p>
            <a:r>
              <a:rPr lang="en-GB" sz="1400" dirty="0"/>
              <a:t>Continuation of documentation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200" b="1" dirty="0"/>
              <a:t>NOTE: This is covered in more advanced TFMA training!</a:t>
            </a:r>
          </a:p>
          <a:p>
            <a:endParaRPr lang="en-GB" sz="1400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6CDD74B7-6E45-5440-A19E-DF5002FBFBAB}"/>
              </a:ext>
            </a:extLst>
          </p:cNvPr>
          <p:cNvSpPr/>
          <p:nvPr/>
        </p:nvSpPr>
        <p:spPr>
          <a:xfrm>
            <a:off x="4306887" y="5653253"/>
            <a:ext cx="495300" cy="39509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CC0216-3484-6147-A790-D11AFEDF62D3}"/>
              </a:ext>
            </a:extLst>
          </p:cNvPr>
          <p:cNvSpPr/>
          <p:nvPr/>
        </p:nvSpPr>
        <p:spPr>
          <a:xfrm>
            <a:off x="3430587" y="6050280"/>
            <a:ext cx="228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/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2446051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839787" y="2203915"/>
            <a:ext cx="78486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dirty="0"/>
              <a:t>CASUALTY AND RESPONDER NO</a:t>
            </a:r>
          </a:p>
          <a:p>
            <a:pPr algn="ctr"/>
            <a:r>
              <a:rPr lang="en-GB" sz="3200" dirty="0"/>
              <a:t>LONGER UNDER EFFECTIVE ENEMY</a:t>
            </a:r>
          </a:p>
          <a:p>
            <a:pPr algn="ctr"/>
            <a:r>
              <a:rPr lang="en-GB" sz="3200" dirty="0"/>
              <a:t>FIRE OR THREAT</a:t>
            </a:r>
          </a:p>
          <a:p>
            <a:pPr algn="ctr"/>
            <a:r>
              <a:rPr lang="en-GB" sz="3600" b="1" dirty="0"/>
              <a:t>ENTER INTO THE</a:t>
            </a:r>
          </a:p>
          <a:p>
            <a:pPr algn="ctr"/>
            <a:r>
              <a:rPr lang="en-GB" sz="3600" b="1" dirty="0">
                <a:solidFill>
                  <a:srgbClr val="FF0000"/>
                </a:solidFill>
              </a:rPr>
              <a:t>TACTICAL FIELD CARE</a:t>
            </a:r>
          </a:p>
          <a:p>
            <a:pPr algn="ctr"/>
            <a:r>
              <a:rPr lang="en-GB" sz="3600" b="1" dirty="0">
                <a:solidFill>
                  <a:srgbClr val="FF0000"/>
                </a:solidFill>
              </a:rPr>
              <a:t>(TFC) PHAS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916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PHASE 2: 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TACTICAL FIELD CARE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9BB6D1-275A-D447-8943-C29B6F0DA5BC}"/>
              </a:ext>
            </a:extLst>
          </p:cNvPr>
          <p:cNvSpPr txBox="1"/>
          <p:nvPr/>
        </p:nvSpPr>
        <p:spPr>
          <a:xfrm>
            <a:off x="394859" y="3016744"/>
            <a:ext cx="3049233" cy="1615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Having transitioned from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re Under Fire (CUF),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further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ssessment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and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r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can be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ore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deliberat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following the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ARCH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PAWS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sequence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262856-5513-F74C-9D88-652809BEE557}"/>
              </a:ext>
            </a:extLst>
          </p:cNvPr>
          <p:cNvSpPr txBox="1"/>
          <p:nvPr/>
        </p:nvSpPr>
        <p:spPr>
          <a:xfrm>
            <a:off x="1306850" y="1715630"/>
            <a:ext cx="715368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FC IS CARE RENDERED WHEN NO</a:t>
            </a:r>
          </a:p>
          <a:p>
            <a:pPr algn="ctr"/>
            <a:r>
              <a:rPr lang="en-GB" dirty="0"/>
              <a:t>LONGER UNDER EFFECTIVE ENEMY FIRE</a:t>
            </a:r>
          </a:p>
          <a:p>
            <a:pPr algn="ctr"/>
            <a:r>
              <a:rPr lang="en-GB" dirty="0"/>
              <a:t>OR THREAT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55E664-2433-3F46-8227-5204DFFB4F70}"/>
              </a:ext>
            </a:extLst>
          </p:cNvPr>
          <p:cNvSpPr txBox="1"/>
          <p:nvPr/>
        </p:nvSpPr>
        <p:spPr>
          <a:xfrm>
            <a:off x="3579607" y="2977514"/>
            <a:ext cx="2530949" cy="16158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is does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NOT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mean that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 danger is over – the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actical situation could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hang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back to CUF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T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NY TIME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F402E3-5BE4-3440-9DFF-619A6003C651}"/>
              </a:ext>
            </a:extLst>
          </p:cNvPr>
          <p:cNvSpPr txBox="1"/>
          <p:nvPr/>
        </p:nvSpPr>
        <p:spPr>
          <a:xfrm>
            <a:off x="915987" y="5349866"/>
            <a:ext cx="4608954" cy="11233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actical Field Care also encompasses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bat/tactical environment not involving enemy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fire (e.g., parachute injury in combat zone)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F1AFFF-1273-0142-A7B1-564EBFF0CBB0}"/>
              </a:ext>
            </a:extLst>
          </p:cNvPr>
          <p:cNvSpPr txBox="1"/>
          <p:nvPr/>
        </p:nvSpPr>
        <p:spPr>
          <a:xfrm>
            <a:off x="6636376" y="2977514"/>
            <a:ext cx="2569934" cy="21852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IMPORTANT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NSIDERATIONS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ission personnel should</a:t>
            </a:r>
          </a:p>
          <a:p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nstantly maintain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ir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situational awareness of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potential threat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from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hostile for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57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SECURITY AND SAFETY 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IN TACTICAL FIELD CARE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9BB6D1-275A-D447-8943-C29B6F0DA5BC}"/>
              </a:ext>
            </a:extLst>
          </p:cNvPr>
          <p:cNvSpPr txBox="1"/>
          <p:nvPr/>
        </p:nvSpPr>
        <p:spPr>
          <a:xfrm>
            <a:off x="839787" y="2590800"/>
            <a:ext cx="2967592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stablish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a security perimeter in accordance with unit tactical standard operating procedures and/or battle drills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aintain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tactical situational awareness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F1AFFF-1273-0142-A7B1-564EBFF0CBB0}"/>
              </a:ext>
            </a:extLst>
          </p:cNvPr>
          <p:cNvSpPr txBox="1"/>
          <p:nvPr/>
        </p:nvSpPr>
        <p:spPr>
          <a:xfrm>
            <a:off x="5544906" y="2558716"/>
            <a:ext cx="3524481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</a:rPr>
              <a:t>CASUALTIES WITH</a:t>
            </a:r>
          </a:p>
          <a:p>
            <a:r>
              <a:rPr lang="en-GB" sz="1600" b="1" dirty="0">
                <a:solidFill>
                  <a:srgbClr val="000000"/>
                </a:solidFill>
              </a:rPr>
              <a:t>ALTERED MENTAL STATUS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SHOULD HAV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Weapons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leared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and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secured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ommunications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secured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Sensitive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items redistributed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Weapons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and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radios DO NOT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ix well with shock or narcotics</a:t>
            </a:r>
          </a:p>
          <a:p>
            <a:endParaRPr lang="en-GB" sz="1200" b="1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3F83E2-2AFA-B041-8E57-888C82F7F4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705" b="92282" l="6075" r="93224">
                        <a14:foregroundMark x1="10514" y1="89933" x2="10514" y2="68121"/>
                        <a14:foregroundMark x1="10514" y1="68121" x2="16589" y2="26174"/>
                        <a14:foregroundMark x1="16589" y1="26174" x2="15187" y2="21141"/>
                        <a14:foregroundMark x1="14252" y1="6711" x2="12850" y2="6040"/>
                        <a14:foregroundMark x1="6542" y1="49664" x2="8411" y2="40940"/>
                        <a14:foregroundMark x1="61215" y1="86242" x2="29907" y2="88591"/>
                        <a14:foregroundMark x1="93224" y1="80872" x2="80374" y2="89597"/>
                        <a14:foregroundMark x1="80374" y1="89597" x2="67523" y2="92282"/>
                        <a14:foregroundMark x1="92290" y1="88255" x2="93224" y2="818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87" y="4606736"/>
            <a:ext cx="3452242" cy="2403664"/>
          </a:xfrm>
          <a:prstGeom prst="rect">
            <a:avLst/>
          </a:prstGeom>
        </p:spPr>
      </p:pic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92E58725-60AD-5947-80AC-1C0DEEDCE0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050" y="4105852"/>
            <a:ext cx="2399040" cy="2119398"/>
          </a:xfrm>
          <a:prstGeom prst="rect">
            <a:avLst/>
          </a:prstGeom>
        </p:spPr>
      </p:pic>
      <p:pic>
        <p:nvPicPr>
          <p:cNvPr id="12" name="Picture 11" descr="A picture containing whiteboard&#10;&#10;Description automatically generated">
            <a:extLst>
              <a:ext uri="{FF2B5EF4-FFF2-40B4-BE49-F238E27FC236}">
                <a16:creationId xmlns:a16="http://schemas.microsoft.com/office/drawing/2014/main" id="{77D80E0C-599D-5842-81F6-B0AC3F43F1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316" y="5131044"/>
            <a:ext cx="2812969" cy="1574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8876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OTHER CONSIDERATIONS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9BB6D1-275A-D447-8943-C29B6F0DA5BC}"/>
              </a:ext>
            </a:extLst>
          </p:cNvPr>
          <p:cNvSpPr txBox="1"/>
          <p:nvPr/>
        </p:nvSpPr>
        <p:spPr>
          <a:xfrm>
            <a:off x="613646" y="2262394"/>
            <a:ext cx="2888932" cy="11233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FC is when the casualty and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 person rendering care are</a:t>
            </a: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NOT under direct fire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55E664-2433-3F46-8227-5204DFFB4F70}"/>
              </a:ext>
            </a:extLst>
          </p:cNvPr>
          <p:cNvSpPr txBox="1"/>
          <p:nvPr/>
        </p:nvSpPr>
        <p:spPr>
          <a:xfrm>
            <a:off x="3458209" y="3242849"/>
            <a:ext cx="305733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8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LIMITED SUPPLIES</a:t>
            </a:r>
            <a:endParaRPr lang="en-GB" sz="160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edical equipment and supplies are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LIMITED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to what is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rried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into the field by the FMA and the individual UN member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F1AFFF-1273-0142-A7B1-564EBFF0CBB0}"/>
              </a:ext>
            </a:extLst>
          </p:cNvPr>
          <p:cNvSpPr txBox="1"/>
          <p:nvPr/>
        </p:nvSpPr>
        <p:spPr>
          <a:xfrm>
            <a:off x="6559910" y="2462733"/>
            <a:ext cx="2952263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rgbClr val="FF0000"/>
                </a:solidFill>
                <a:latin typeface="Arial" panose="020B0604020202020204" pitchFamily="34" charset="0"/>
              </a:rPr>
              <a:t>REMEMBER: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Always use the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casualty’s 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BFAK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FIRST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FC can turn into a CUF situation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unexpectedly</a:t>
            </a:r>
          </a:p>
          <a:p>
            <a:pPr marL="285750" indent="-2857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Personnel should </a:t>
            </a:r>
            <a:r>
              <a:rPr lang="en-GB" sz="16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maintain</a:t>
            </a: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 their situational awareness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AC98C0-18A3-EC42-AC43-7F25D019D3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794" y="3777050"/>
            <a:ext cx="2915167" cy="2658486"/>
          </a:xfrm>
          <a:prstGeom prst="rect">
            <a:avLst/>
          </a:prstGeom>
        </p:spPr>
      </p:pic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99CF8DA3-0240-1B43-B05B-0ECFDE4FCB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6091" y="5072417"/>
            <a:ext cx="1904653" cy="1969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5532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ASUALTY REMOVAL/EXTRACTION PRINCIPLES</a:t>
            </a:r>
          </a:p>
          <a:p>
            <a:pPr marL="0" indent="0" algn="ctr">
              <a:buNone/>
            </a:pP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02579" y="841950"/>
            <a:ext cx="2762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TACTICAL FIELD CA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CF1AFFF-1273-0142-A7B1-564EBFF0CBB0}"/>
              </a:ext>
            </a:extLst>
          </p:cNvPr>
          <p:cNvSpPr txBox="1"/>
          <p:nvPr/>
        </p:nvSpPr>
        <p:spPr>
          <a:xfrm>
            <a:off x="4268787" y="2249675"/>
            <a:ext cx="5029200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 first principle is safety. Safety is critical.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 second principle of MARCH still applies. If possible, you may want to initiate lifesaving measures like applying a tourniquet before the extraction, and monitor them throughout the process.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The third principle is training.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DDBE37-2846-1648-B91E-B78A376509EB}"/>
              </a:ext>
            </a:extLst>
          </p:cNvPr>
          <p:cNvSpPr txBox="1"/>
          <p:nvPr/>
        </p:nvSpPr>
        <p:spPr>
          <a:xfrm>
            <a:off x="4842592" y="5181600"/>
            <a:ext cx="445539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000000"/>
                </a:solidFill>
              </a:rPr>
              <a:t>Extractions will vary based on the</a:t>
            </a:r>
          </a:p>
          <a:p>
            <a:r>
              <a:rPr lang="en-GB" b="1" dirty="0">
                <a:solidFill>
                  <a:srgbClr val="000000"/>
                </a:solidFill>
              </a:rPr>
              <a:t>mission and vehicles located in</a:t>
            </a:r>
          </a:p>
          <a:p>
            <a:r>
              <a:rPr lang="en-GB" b="1" dirty="0">
                <a:solidFill>
                  <a:srgbClr val="000000"/>
                </a:solidFill>
              </a:rPr>
              <a:t>your Area of Responsibility (AOR)</a:t>
            </a:r>
          </a:p>
          <a:p>
            <a:endParaRPr lang="en-US" dirty="0"/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50CD8A91-CDF3-ED4B-8869-905F5E536B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07" b="95604" l="4353" r="91629">
                        <a14:foregroundMark x1="13170" y1="45421" x2="7924" y2="57692"/>
                        <a14:foregroundMark x1="7924" y1="57692" x2="6250" y2="86813"/>
                        <a14:foregroundMark x1="6250" y1="86813" x2="4464" y2="91392"/>
                        <a14:foregroundMark x1="55357" y1="86630" x2="64063" y2="86447"/>
                        <a14:foregroundMark x1="64063" y1="86447" x2="69866" y2="74908"/>
                        <a14:foregroundMark x1="69866" y1="74908" x2="78571" y2="73993"/>
                        <a14:foregroundMark x1="78571" y1="73993" x2="84821" y2="62821"/>
                        <a14:foregroundMark x1="84821" y1="62821" x2="91518" y2="72894"/>
                        <a14:foregroundMark x1="91518" y1="72894" x2="91741" y2="77106"/>
                        <a14:foregroundMark x1="90513" y1="67216" x2="85714" y2="82234"/>
                        <a14:foregroundMark x1="85714" y1="82234" x2="84710" y2="95604"/>
                        <a14:foregroundMark x1="79464" y1="27289" x2="78013" y2="23260"/>
                        <a14:foregroundMark x1="74888" y1="12271" x2="69754" y2="119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10" y="4191000"/>
            <a:ext cx="4626708" cy="281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698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4276E0C6EA6545A0980E728CA0D16F" ma:contentTypeVersion="12" ma:contentTypeDescription="Create a new document." ma:contentTypeScope="" ma:versionID="2ee924163d63291ed463809cd257f46f">
  <xsd:schema xmlns:xsd="http://www.w3.org/2001/XMLSchema" xmlns:xs="http://www.w3.org/2001/XMLSchema" xmlns:p="http://schemas.microsoft.com/office/2006/metadata/properties" xmlns:ns2="687affff-4a49-4c26-a26c-94afce142aea" xmlns:ns3="095eee01-24be-4581-bdfc-a8f3f7518cc6" targetNamespace="http://schemas.microsoft.com/office/2006/metadata/properties" ma:root="true" ma:fieldsID="84121ae03871df0cf768064b88db0fe7" ns2:_="" ns3:_="">
    <xsd:import namespace="687affff-4a49-4c26-a26c-94afce142aea"/>
    <xsd:import namespace="095eee01-24be-4581-bdfc-a8f3f7518c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affff-4a49-4c26-a26c-94afce142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ee01-24be-4581-bdfc-a8f3f7518cc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87affff-4a49-4c26-a26c-94afce142aea"/>
    <ds:schemaRef ds:uri="http://schemas.microsoft.com/office/infopath/2007/PartnerControls"/>
    <ds:schemaRef ds:uri="095eee01-24be-4581-bdfc-a8f3f7518cc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CB488A2-1C8A-4535-98C1-AD49A40AA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7affff-4a49-4c26-a26c-94afce142aea"/>
    <ds:schemaRef ds:uri="095eee01-24be-4581-bdfc-a8f3f751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4</TotalTime>
  <Words>1007</Words>
  <Application>Microsoft Macintosh PowerPoint</Application>
  <PresentationFormat>Custom</PresentationFormat>
  <Paragraphs>247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1" baseType="lpstr">
      <vt:lpstr>Arial</vt:lpstr>
      <vt:lpstr>Calibri</vt:lpstr>
      <vt:lpstr>Office Theme</vt:lpstr>
      <vt:lpstr>think-cell Slide</vt:lpstr>
      <vt:lpstr>FIELD MEDICAL ASSISTANT COURSE (FMAC)</vt:lpstr>
      <vt:lpstr>TACTICAL FIELD MEDICAL AID (TFMA) </vt:lpstr>
      <vt:lpstr> </vt:lpstr>
      <vt:lpstr> </vt:lpstr>
      <vt:lpstr> </vt:lpstr>
      <vt:lpstr> </vt:lpstr>
      <vt:lpstr> </vt:lpstr>
      <vt:lpstr> </vt:lpstr>
      <vt:lpstr> </vt:lpstr>
      <vt:lpstr>TACTICAL FIELD CARE </vt:lpstr>
      <vt:lpstr> </vt:lpstr>
      <vt:lpstr> </vt:lpstr>
      <vt:lpstr> </vt:lpstr>
      <vt:lpstr> </vt:lpstr>
      <vt:lpstr> </vt:lpstr>
      <vt:lpstr>PowerPoint Presentation</vt:lpstr>
      <vt:lpstr>PowerPoint Presentation</vt:lpstr>
    </vt:vector>
  </TitlesOfParts>
  <Company>United Nation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Patrick Thompson</cp:lastModifiedBy>
  <cp:revision>236</cp:revision>
  <cp:lastPrinted>2022-01-31T10:04:19Z</cp:lastPrinted>
  <dcterms:created xsi:type="dcterms:W3CDTF">2020-02-03T21:56:11Z</dcterms:created>
  <dcterms:modified xsi:type="dcterms:W3CDTF">2022-05-26T16:3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276E0C6EA6545A0980E728CA0D16F</vt:lpwstr>
  </property>
</Properties>
</file>